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JPG" ContentType="image/.jpg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sldIdLst>
    <p:sldId id="256" r:id="rId3"/>
    <p:sldId id="351" r:id="rId4"/>
    <p:sldId id="355" r:id="rId6"/>
    <p:sldId id="352" r:id="rId7"/>
    <p:sldId id="353" r:id="rId8"/>
    <p:sldId id="354" r:id="rId9"/>
    <p:sldId id="337" r:id="rId10"/>
    <p:sldId id="350" r:id="rId11"/>
    <p:sldId id="348" r:id="rId12"/>
    <p:sldId id="349" r:id="rId13"/>
    <p:sldId id="346" r:id="rId14"/>
    <p:sldId id="311" r:id="rId15"/>
  </p:sldIdLst>
  <p:sldSz cx="4610100" cy="3460750"/>
  <p:notesSz cx="4610100" cy="3460750"/>
  <p:custDataLst>
    <p:tags r:id="rId19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1175" userDrawn="1">
          <p15:clr>
            <a:srgbClr val="A4A3A4"/>
          </p15:clr>
        </p15:guide>
        <p15:guide id="2" pos="145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3868"/>
    <a:srgbClr val="DC9F02"/>
    <a:srgbClr val="ECAD0F"/>
    <a:srgbClr val="DBA000"/>
    <a:srgbClr val="E6E0EC"/>
    <a:srgbClr val="766579"/>
    <a:srgbClr val="515151"/>
    <a:srgbClr val="492A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9"/>
    <p:restoredTop sz="94673"/>
  </p:normalViewPr>
  <p:slideViewPr>
    <p:cSldViewPr showGuides="1">
      <p:cViewPr varScale="1">
        <p:scale>
          <a:sx n="203" d="100"/>
          <a:sy n="203" d="100"/>
        </p:scale>
        <p:origin x="883" y="115"/>
      </p:cViewPr>
      <p:guideLst>
        <p:guide orient="horz" pos="1175"/>
        <p:guide pos="145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gs" Target="tags/tag11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997075" cy="1730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2611438" y="0"/>
            <a:ext cx="1997075" cy="1730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DC923-D9A5-40AC-981E-98AB2FB6FCD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527175" y="433388"/>
            <a:ext cx="1555750" cy="116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460375" y="1665288"/>
            <a:ext cx="3689350" cy="13636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3287713"/>
            <a:ext cx="1997075" cy="1730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2611438" y="3287713"/>
            <a:ext cx="1997075" cy="1730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878"/>
            <a:ext cx="44194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691515" y="1938020"/>
            <a:ext cx="3227070" cy="865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tx1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30505" y="795972"/>
            <a:ext cx="2005393" cy="2284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374201" y="795972"/>
            <a:ext cx="2005393" cy="2284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1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7" imgW="3810" imgH="3810" progId="TCLayout.ActiveDocument.1">
                  <p:embed/>
                </p:oleObj>
              </mc:Choice>
              <mc:Fallback>
                <p:oleObj name="think-cell 幻灯片" r:id="rId7" imgW="3810" imgH="381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17" name="bg object 17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18" name="bg object 18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19" name="bg object 19"/>
          <p:cNvSpPr/>
          <p:nvPr/>
        </p:nvSpPr>
        <p:spPr>
          <a:xfrm>
            <a:off x="3305694" y="3251262"/>
            <a:ext cx="64135" cy="50800"/>
          </a:xfrm>
          <a:custGeom>
            <a:avLst/>
            <a:gdLst/>
            <a:ahLst/>
            <a:cxnLst/>
            <a:rect l="l" t="t" r="r" b="b"/>
            <a:pathLst>
              <a:path w="64135" h="50800">
                <a:moveTo>
                  <a:pt x="0" y="50800"/>
                </a:moveTo>
                <a:lnTo>
                  <a:pt x="43019" y="50800"/>
                </a:lnTo>
                <a:lnTo>
                  <a:pt x="43019" y="20434"/>
                </a:lnTo>
                <a:lnTo>
                  <a:pt x="0" y="20434"/>
                </a:lnTo>
                <a:lnTo>
                  <a:pt x="0" y="50800"/>
                </a:lnTo>
                <a:close/>
              </a:path>
              <a:path w="64135" h="50800">
                <a:moveTo>
                  <a:pt x="10491" y="20320"/>
                </a:moveTo>
                <a:lnTo>
                  <a:pt x="10491" y="10160"/>
                </a:lnTo>
                <a:lnTo>
                  <a:pt x="53672" y="10160"/>
                </a:lnTo>
                <a:lnTo>
                  <a:pt x="53672" y="40640"/>
                </a:lnTo>
                <a:lnTo>
                  <a:pt x="43512" y="40640"/>
                </a:lnTo>
              </a:path>
              <a:path w="64135" h="50800">
                <a:moveTo>
                  <a:pt x="20652" y="10160"/>
                </a:moveTo>
                <a:lnTo>
                  <a:pt x="20652" y="0"/>
                </a:lnTo>
                <a:lnTo>
                  <a:pt x="63832" y="0"/>
                </a:lnTo>
                <a:lnTo>
                  <a:pt x="63832" y="30480"/>
                </a:lnTo>
                <a:lnTo>
                  <a:pt x="53672" y="30480"/>
                </a:lnTo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0" name="bg object 20"/>
          <p:cNvSpPr/>
          <p:nvPr/>
        </p:nvSpPr>
        <p:spPr>
          <a:xfrm>
            <a:off x="3242526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21" name="bg object 21"/>
          <p:cNvSpPr/>
          <p:nvPr/>
        </p:nvSpPr>
        <p:spPr>
          <a:xfrm>
            <a:off x="3606877" y="3263963"/>
            <a:ext cx="38100" cy="0"/>
          </a:xfrm>
          <a:custGeom>
            <a:avLst/>
            <a:gdLst/>
            <a:ahLst/>
            <a:cxnLst/>
            <a:rect l="l" t="t" r="r" b="b"/>
            <a:pathLst>
              <a:path w="38100">
                <a:moveTo>
                  <a:pt x="0" y="0"/>
                </a:moveTo>
                <a:lnTo>
                  <a:pt x="38100" y="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2" name="bg object 22"/>
          <p:cNvSpPr/>
          <p:nvPr/>
        </p:nvSpPr>
        <p:spPr>
          <a:xfrm>
            <a:off x="3517976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23" name="bg object 23"/>
          <p:cNvSpPr/>
          <p:nvPr/>
        </p:nvSpPr>
        <p:spPr>
          <a:xfrm>
            <a:off x="3594177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DFD7E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4" name="bg object 24"/>
          <p:cNvSpPr/>
          <p:nvPr/>
        </p:nvSpPr>
        <p:spPr>
          <a:xfrm>
            <a:off x="3869640" y="3251262"/>
            <a:ext cx="50800" cy="25400"/>
          </a:xfrm>
          <a:custGeom>
            <a:avLst/>
            <a:gdLst/>
            <a:ahLst/>
            <a:cxnLst/>
            <a:rect l="l" t="t" r="r" b="b"/>
            <a:pathLst>
              <a:path w="50800" h="25400">
                <a:moveTo>
                  <a:pt x="0" y="0"/>
                </a:moveTo>
                <a:lnTo>
                  <a:pt x="38100" y="0"/>
                </a:lnTo>
              </a:path>
              <a:path w="50800" h="25400">
                <a:moveTo>
                  <a:pt x="12700" y="12700"/>
                </a:moveTo>
                <a:lnTo>
                  <a:pt x="50800" y="12700"/>
                </a:lnTo>
              </a:path>
              <a:path w="50800" h="25400">
                <a:moveTo>
                  <a:pt x="12700" y="25400"/>
                </a:moveTo>
                <a:lnTo>
                  <a:pt x="50800" y="254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5" name="bg object 25"/>
          <p:cNvSpPr/>
          <p:nvPr/>
        </p:nvSpPr>
        <p:spPr>
          <a:xfrm>
            <a:off x="3793439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26" name="bg object 26"/>
          <p:cNvSpPr/>
          <p:nvPr/>
        </p:nvSpPr>
        <p:spPr>
          <a:xfrm>
            <a:off x="3869640" y="3289363"/>
            <a:ext cx="50800" cy="12700"/>
          </a:xfrm>
          <a:custGeom>
            <a:avLst/>
            <a:gdLst/>
            <a:ahLst/>
            <a:cxnLst/>
            <a:rect l="l" t="t" r="r" b="b"/>
            <a:pathLst>
              <a:path w="50800" h="12700">
                <a:moveTo>
                  <a:pt x="0" y="0"/>
                </a:moveTo>
                <a:lnTo>
                  <a:pt x="38100" y="0"/>
                </a:lnTo>
              </a:path>
              <a:path w="50800" h="12700">
                <a:moveTo>
                  <a:pt x="12700" y="12699"/>
                </a:moveTo>
                <a:lnTo>
                  <a:pt x="50800" y="12699"/>
                </a:lnTo>
              </a:path>
            </a:pathLst>
          </a:custGeom>
          <a:ln w="7591">
            <a:solidFill>
              <a:srgbClr val="DFD7E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7" name="bg object 27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8" name="bg object 28"/>
          <p:cNvSpPr/>
          <p:nvPr/>
        </p:nvSpPr>
        <p:spPr>
          <a:xfrm>
            <a:off x="4451033" y="3281743"/>
            <a:ext cx="20320" cy="20320"/>
          </a:xfrm>
          <a:custGeom>
            <a:avLst/>
            <a:gdLst/>
            <a:ahLst/>
            <a:cxnLst/>
            <a:rect l="l" t="t" r="r" b="b"/>
            <a:pathLst>
              <a:path w="20320" h="20320">
                <a:moveTo>
                  <a:pt x="0" y="0"/>
                </a:moveTo>
                <a:lnTo>
                  <a:pt x="20320" y="2032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29" name="bg object 29"/>
          <p:cNvSpPr/>
          <p:nvPr/>
        </p:nvSpPr>
        <p:spPr>
          <a:xfrm>
            <a:off x="4423969" y="3255248"/>
            <a:ext cx="30480" cy="30480"/>
          </a:xfrm>
          <a:custGeom>
            <a:avLst/>
            <a:gdLst/>
            <a:ahLst/>
            <a:cxnLst/>
            <a:rect l="l" t="t" r="r" b="b"/>
            <a:pathLst>
              <a:path w="30479" h="30479">
                <a:moveTo>
                  <a:pt x="30366" y="15183"/>
                </a:moveTo>
                <a:lnTo>
                  <a:pt x="30366" y="6797"/>
                </a:lnTo>
                <a:lnTo>
                  <a:pt x="23568" y="0"/>
                </a:lnTo>
                <a:lnTo>
                  <a:pt x="15183" y="0"/>
                </a:lnTo>
                <a:lnTo>
                  <a:pt x="6797" y="0"/>
                </a:lnTo>
                <a:lnTo>
                  <a:pt x="0" y="6797"/>
                </a:lnTo>
                <a:lnTo>
                  <a:pt x="0" y="15183"/>
                </a:lnTo>
                <a:lnTo>
                  <a:pt x="0" y="23568"/>
                </a:lnTo>
                <a:lnTo>
                  <a:pt x="6797" y="30366"/>
                </a:lnTo>
                <a:lnTo>
                  <a:pt x="15183" y="30366"/>
                </a:lnTo>
                <a:lnTo>
                  <a:pt x="23568" y="30366"/>
                </a:lnTo>
                <a:lnTo>
                  <a:pt x="30366" y="23568"/>
                </a:lnTo>
                <a:lnTo>
                  <a:pt x="30366" y="15183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30" name="bg object 30"/>
          <p:cNvSpPr/>
          <p:nvPr/>
        </p:nvSpPr>
        <p:spPr>
          <a:xfrm>
            <a:off x="4329112" y="3251262"/>
            <a:ext cx="233679" cy="50800"/>
          </a:xfrm>
          <a:custGeom>
            <a:avLst/>
            <a:gdLst/>
            <a:ahLst/>
            <a:cxnLst/>
            <a:rect l="l" t="t" r="r" b="b"/>
            <a:pathLst>
              <a:path w="233679" h="50800">
                <a:moveTo>
                  <a:pt x="40640" y="50800"/>
                </a:moveTo>
                <a:lnTo>
                  <a:pt x="50400" y="48796"/>
                </a:lnTo>
                <a:lnTo>
                  <a:pt x="58488" y="43339"/>
                </a:lnTo>
                <a:lnTo>
                  <a:pt x="64002" y="35262"/>
                </a:lnTo>
                <a:lnTo>
                  <a:pt x="66040" y="25400"/>
                </a:lnTo>
                <a:lnTo>
                  <a:pt x="64036" y="15537"/>
                </a:lnTo>
                <a:lnTo>
                  <a:pt x="58579" y="7461"/>
                </a:lnTo>
                <a:lnTo>
                  <a:pt x="50502" y="2004"/>
                </a:lnTo>
                <a:lnTo>
                  <a:pt x="40640" y="0"/>
                </a:lnTo>
                <a:lnTo>
                  <a:pt x="30778" y="2004"/>
                </a:lnTo>
                <a:lnTo>
                  <a:pt x="22701" y="7461"/>
                </a:lnTo>
                <a:lnTo>
                  <a:pt x="17244" y="15537"/>
                </a:lnTo>
                <a:lnTo>
                  <a:pt x="15240" y="25400"/>
                </a:lnTo>
              </a:path>
              <a:path w="233679" h="50800">
                <a:moveTo>
                  <a:pt x="30480" y="17780"/>
                </a:moveTo>
                <a:lnTo>
                  <a:pt x="15240" y="30480"/>
                </a:lnTo>
                <a:lnTo>
                  <a:pt x="0" y="17780"/>
                </a:lnTo>
              </a:path>
              <a:path w="233679" h="50800">
                <a:moveTo>
                  <a:pt x="193042" y="50800"/>
                </a:moveTo>
                <a:lnTo>
                  <a:pt x="183179" y="48796"/>
                </a:lnTo>
                <a:lnTo>
                  <a:pt x="175103" y="43339"/>
                </a:lnTo>
                <a:lnTo>
                  <a:pt x="169646" y="35262"/>
                </a:lnTo>
                <a:lnTo>
                  <a:pt x="167642" y="25400"/>
                </a:lnTo>
                <a:lnTo>
                  <a:pt x="169646" y="15537"/>
                </a:lnTo>
                <a:lnTo>
                  <a:pt x="175103" y="7461"/>
                </a:lnTo>
                <a:lnTo>
                  <a:pt x="183179" y="2004"/>
                </a:lnTo>
                <a:lnTo>
                  <a:pt x="193042" y="0"/>
                </a:lnTo>
                <a:lnTo>
                  <a:pt x="202904" y="2004"/>
                </a:lnTo>
                <a:lnTo>
                  <a:pt x="210981" y="7461"/>
                </a:lnTo>
                <a:lnTo>
                  <a:pt x="216438" y="15537"/>
                </a:lnTo>
                <a:lnTo>
                  <a:pt x="218442" y="25400"/>
                </a:lnTo>
              </a:path>
              <a:path w="233679" h="50800">
                <a:moveTo>
                  <a:pt x="233682" y="17780"/>
                </a:moveTo>
                <a:lnTo>
                  <a:pt x="218442" y="30480"/>
                </a:lnTo>
                <a:lnTo>
                  <a:pt x="203202" y="17780"/>
                </a:lnTo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31" name="bg object 31"/>
          <p:cNvSpPr/>
          <p:nvPr/>
        </p:nvSpPr>
        <p:spPr>
          <a:xfrm>
            <a:off x="0" y="0"/>
            <a:ext cx="4608195" cy="350520"/>
          </a:xfrm>
          <a:custGeom>
            <a:avLst/>
            <a:gdLst/>
            <a:ahLst/>
            <a:cxnLst/>
            <a:rect l="l" t="t" r="r" b="b"/>
            <a:pathLst>
              <a:path w="4608195" h="350520">
                <a:moveTo>
                  <a:pt x="4608004" y="0"/>
                </a:moveTo>
                <a:lnTo>
                  <a:pt x="0" y="0"/>
                </a:lnTo>
                <a:lnTo>
                  <a:pt x="0" y="350126"/>
                </a:lnTo>
                <a:lnTo>
                  <a:pt x="4608004" y="350126"/>
                </a:lnTo>
                <a:lnTo>
                  <a:pt x="4608004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/>
        </p:txBody>
      </p:sp>
      <p:sp>
        <p:nvSpPr>
          <p:cNvPr id="4" name="Holder 3"/>
          <p:cNvSpPr>
            <a:spLocks noGrp="1"/>
          </p:cNvSpPr>
          <p:nvPr>
            <p:ph type="body" idx="1"/>
          </p:nvPr>
        </p:nvSpPr>
        <p:spPr>
          <a:xfrm>
            <a:off x="87744" y="888046"/>
            <a:ext cx="4163695" cy="1052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>
                <a:solidFill>
                  <a:schemeClr val="tx1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502500" y="3351784"/>
            <a:ext cx="53149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  <a:endParaRPr spc="-20" dirty="0"/>
          </a:p>
        </p:txBody>
      </p:sp>
      <p:sp>
        <p:nvSpPr>
          <p:cNvPr id="6" name="Holder 5"/>
          <p:cNvSpPr>
            <a:spLocks noGrp="1"/>
          </p:cNvSpPr>
          <p:nvPr>
            <p:ph type="dt" sz="half" idx="6"/>
          </p:nvPr>
        </p:nvSpPr>
        <p:spPr>
          <a:xfrm>
            <a:off x="3447656" y="3351784"/>
            <a:ext cx="66230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  <a:endParaRPr spc="-20" dirty="0"/>
          </a:p>
        </p:txBody>
      </p:sp>
      <p:sp>
        <p:nvSpPr>
          <p:cNvPr id="8" name="Holder 6"/>
          <p:cNvSpPr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  <a:endParaRPr spc="-2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.v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5.png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0.v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0.bin"/><Relationship Id="rId1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6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7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vmlDrawing" Target="../drawings/vmlDrawing6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0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7.bin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8.bin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vmlDrawing" Target="../drawings/vmlDrawing9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1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9.bin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3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4" name="object 3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6" name="object 5"/>
          <p:cNvGrpSpPr/>
          <p:nvPr/>
        </p:nvGrpSpPr>
        <p:grpSpPr>
          <a:xfrm>
            <a:off x="3242526" y="3248732"/>
            <a:ext cx="203200" cy="55880"/>
            <a:chOff x="3242526" y="3248732"/>
            <a:chExt cx="203200" cy="55880"/>
          </a:xfrm>
        </p:grpSpPr>
        <p:sp>
          <p:nvSpPr>
            <p:cNvPr id="7" name="object 6"/>
            <p:cNvSpPr/>
            <p:nvPr/>
          </p:nvSpPr>
          <p:spPr>
            <a:xfrm>
              <a:off x="3305694" y="3251262"/>
              <a:ext cx="64135" cy="50800"/>
            </a:xfrm>
            <a:custGeom>
              <a:avLst/>
              <a:gdLst/>
              <a:ahLst/>
              <a:cxnLst/>
              <a:rect l="l" t="t" r="r" b="b"/>
              <a:pathLst>
                <a:path w="64135" h="50800">
                  <a:moveTo>
                    <a:pt x="0" y="50800"/>
                  </a:moveTo>
                  <a:lnTo>
                    <a:pt x="43019" y="50800"/>
                  </a:lnTo>
                  <a:lnTo>
                    <a:pt x="43019" y="20434"/>
                  </a:lnTo>
                  <a:lnTo>
                    <a:pt x="0" y="20434"/>
                  </a:lnTo>
                  <a:lnTo>
                    <a:pt x="0" y="50800"/>
                  </a:lnTo>
                  <a:close/>
                </a:path>
                <a:path w="64135" h="50800">
                  <a:moveTo>
                    <a:pt x="10491" y="20320"/>
                  </a:moveTo>
                  <a:lnTo>
                    <a:pt x="10491" y="10160"/>
                  </a:lnTo>
                  <a:lnTo>
                    <a:pt x="53672" y="10160"/>
                  </a:lnTo>
                  <a:lnTo>
                    <a:pt x="53672" y="40640"/>
                  </a:lnTo>
                  <a:lnTo>
                    <a:pt x="43512" y="40640"/>
                  </a:lnTo>
                </a:path>
                <a:path w="64135" h="50800">
                  <a:moveTo>
                    <a:pt x="20652" y="10160"/>
                  </a:moveTo>
                  <a:lnTo>
                    <a:pt x="20652" y="0"/>
                  </a:lnTo>
                  <a:lnTo>
                    <a:pt x="63832" y="0"/>
                  </a:lnTo>
                  <a:lnTo>
                    <a:pt x="63832" y="30480"/>
                  </a:lnTo>
                  <a:lnTo>
                    <a:pt x="53672" y="304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324252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9" name="object 8"/>
          <p:cNvGrpSpPr/>
          <p:nvPr/>
        </p:nvGrpSpPr>
        <p:grpSpPr>
          <a:xfrm>
            <a:off x="3517976" y="3247467"/>
            <a:ext cx="203200" cy="58419"/>
            <a:chOff x="3517976" y="3247467"/>
            <a:chExt cx="203200" cy="58419"/>
          </a:xfrm>
        </p:grpSpPr>
        <p:sp>
          <p:nvSpPr>
            <p:cNvPr id="10" name="object 9"/>
            <p:cNvSpPr/>
            <p:nvPr/>
          </p:nvSpPr>
          <p:spPr>
            <a:xfrm>
              <a:off x="3606877" y="3263963"/>
              <a:ext cx="38100" cy="0"/>
            </a:xfrm>
            <a:custGeom>
              <a:avLst/>
              <a:gdLst/>
              <a:ahLst/>
              <a:cxnLst/>
              <a:rect l="l" t="t" r="r" b="b"/>
              <a:pathLst>
                <a:path w="38100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1" name="object 10"/>
            <p:cNvSpPr/>
            <p:nvPr/>
          </p:nvSpPr>
          <p:spPr>
            <a:xfrm>
              <a:off x="351797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object 11"/>
            <p:cNvSpPr/>
            <p:nvPr/>
          </p:nvSpPr>
          <p:spPr>
            <a:xfrm>
              <a:off x="3594177" y="3251262"/>
              <a:ext cx="50800" cy="50800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0" y="0"/>
                  </a:moveTo>
                  <a:lnTo>
                    <a:pt x="38100" y="0"/>
                  </a:lnTo>
                </a:path>
                <a:path w="50800" h="50800">
                  <a:moveTo>
                    <a:pt x="12700" y="25400"/>
                  </a:moveTo>
                  <a:lnTo>
                    <a:pt x="50800" y="25400"/>
                  </a:lnTo>
                </a:path>
                <a:path w="50800" h="50800">
                  <a:moveTo>
                    <a:pt x="0" y="38100"/>
                  </a:moveTo>
                  <a:lnTo>
                    <a:pt x="38100" y="38100"/>
                  </a:lnTo>
                </a:path>
                <a:path w="50800" h="50800">
                  <a:moveTo>
                    <a:pt x="12700" y="50800"/>
                  </a:moveTo>
                  <a:lnTo>
                    <a:pt x="50800" y="50800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13" name="object 12"/>
          <p:cNvGrpSpPr/>
          <p:nvPr/>
        </p:nvGrpSpPr>
        <p:grpSpPr>
          <a:xfrm>
            <a:off x="3793439" y="3247467"/>
            <a:ext cx="203200" cy="58419"/>
            <a:chOff x="3793439" y="3247467"/>
            <a:chExt cx="203200" cy="58419"/>
          </a:xfrm>
        </p:grpSpPr>
        <p:sp>
          <p:nvSpPr>
            <p:cNvPr id="14" name="object 13"/>
            <p:cNvSpPr/>
            <p:nvPr/>
          </p:nvSpPr>
          <p:spPr>
            <a:xfrm>
              <a:off x="3869640" y="3251262"/>
              <a:ext cx="50800" cy="25400"/>
            </a:xfrm>
            <a:custGeom>
              <a:avLst/>
              <a:gdLst/>
              <a:ahLst/>
              <a:cxnLst/>
              <a:rect l="l" t="t" r="r" b="b"/>
              <a:pathLst>
                <a:path w="50800" h="25400">
                  <a:moveTo>
                    <a:pt x="0" y="0"/>
                  </a:moveTo>
                  <a:lnTo>
                    <a:pt x="38100" y="0"/>
                  </a:lnTo>
                </a:path>
                <a:path w="50800" h="25400">
                  <a:moveTo>
                    <a:pt x="12700" y="12700"/>
                  </a:moveTo>
                  <a:lnTo>
                    <a:pt x="50800" y="12700"/>
                  </a:lnTo>
                </a:path>
                <a:path w="50800" h="25400">
                  <a:moveTo>
                    <a:pt x="12700" y="25400"/>
                  </a:moveTo>
                  <a:lnTo>
                    <a:pt x="50800" y="2540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5" name="object 14"/>
            <p:cNvSpPr/>
            <p:nvPr/>
          </p:nvSpPr>
          <p:spPr>
            <a:xfrm>
              <a:off x="3793439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6" name="object 15"/>
            <p:cNvSpPr/>
            <p:nvPr/>
          </p:nvSpPr>
          <p:spPr>
            <a:xfrm>
              <a:off x="3869640" y="3289363"/>
              <a:ext cx="50800" cy="12700"/>
            </a:xfrm>
            <a:custGeom>
              <a:avLst/>
              <a:gdLst/>
              <a:ahLst/>
              <a:cxnLst/>
              <a:rect l="l" t="t" r="r" b="b"/>
              <a:pathLst>
                <a:path w="50800" h="12700">
                  <a:moveTo>
                    <a:pt x="0" y="0"/>
                  </a:moveTo>
                  <a:lnTo>
                    <a:pt x="38100" y="0"/>
                  </a:lnTo>
                </a:path>
                <a:path w="50800" h="12700">
                  <a:moveTo>
                    <a:pt x="12700" y="12699"/>
                  </a:moveTo>
                  <a:lnTo>
                    <a:pt x="50800" y="12699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7" name="object 16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18" name="object 17"/>
          <p:cNvGrpSpPr/>
          <p:nvPr/>
        </p:nvGrpSpPr>
        <p:grpSpPr>
          <a:xfrm>
            <a:off x="4326582" y="3248732"/>
            <a:ext cx="238760" cy="57150"/>
            <a:chOff x="4326582" y="3248732"/>
            <a:chExt cx="238760" cy="57150"/>
          </a:xfrm>
        </p:grpSpPr>
        <p:sp>
          <p:nvSpPr>
            <p:cNvPr id="19" name="object 18"/>
            <p:cNvSpPr/>
            <p:nvPr/>
          </p:nvSpPr>
          <p:spPr>
            <a:xfrm>
              <a:off x="4451033" y="3281743"/>
              <a:ext cx="20320" cy="20320"/>
            </a:xfrm>
            <a:custGeom>
              <a:avLst/>
              <a:gdLst/>
              <a:ahLst/>
              <a:cxnLst/>
              <a:rect l="l" t="t" r="r" b="b"/>
              <a:pathLst>
                <a:path w="20320" h="20320">
                  <a:moveTo>
                    <a:pt x="0" y="0"/>
                  </a:moveTo>
                  <a:lnTo>
                    <a:pt x="20320" y="2032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0" name="object 19"/>
            <p:cNvSpPr/>
            <p:nvPr/>
          </p:nvSpPr>
          <p:spPr>
            <a:xfrm>
              <a:off x="4423969" y="3255248"/>
              <a:ext cx="30480" cy="30480"/>
            </a:xfrm>
            <a:custGeom>
              <a:avLst/>
              <a:gdLst/>
              <a:ahLst/>
              <a:cxnLst/>
              <a:rect l="l" t="t" r="r" b="b"/>
              <a:pathLst>
                <a:path w="30479" h="30479">
                  <a:moveTo>
                    <a:pt x="30366" y="15183"/>
                  </a:moveTo>
                  <a:lnTo>
                    <a:pt x="30366" y="6797"/>
                  </a:lnTo>
                  <a:lnTo>
                    <a:pt x="23568" y="0"/>
                  </a:lnTo>
                  <a:lnTo>
                    <a:pt x="15183" y="0"/>
                  </a:lnTo>
                  <a:lnTo>
                    <a:pt x="6797" y="0"/>
                  </a:lnTo>
                  <a:lnTo>
                    <a:pt x="0" y="6797"/>
                  </a:lnTo>
                  <a:lnTo>
                    <a:pt x="0" y="15183"/>
                  </a:lnTo>
                  <a:lnTo>
                    <a:pt x="0" y="23568"/>
                  </a:lnTo>
                  <a:lnTo>
                    <a:pt x="6797" y="30366"/>
                  </a:lnTo>
                  <a:lnTo>
                    <a:pt x="15183" y="30366"/>
                  </a:lnTo>
                  <a:lnTo>
                    <a:pt x="23568" y="30366"/>
                  </a:lnTo>
                  <a:lnTo>
                    <a:pt x="30366" y="23568"/>
                  </a:lnTo>
                  <a:lnTo>
                    <a:pt x="30366" y="15183"/>
                  </a:lnTo>
                  <a:close/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1" name="object 20"/>
            <p:cNvSpPr/>
            <p:nvPr/>
          </p:nvSpPr>
          <p:spPr>
            <a:xfrm>
              <a:off x="4329112" y="3251262"/>
              <a:ext cx="233679" cy="50800"/>
            </a:xfrm>
            <a:custGeom>
              <a:avLst/>
              <a:gdLst/>
              <a:ahLst/>
              <a:cxnLst/>
              <a:rect l="l" t="t" r="r" b="b"/>
              <a:pathLst>
                <a:path w="233679" h="50800">
                  <a:moveTo>
                    <a:pt x="40640" y="50800"/>
                  </a:moveTo>
                  <a:lnTo>
                    <a:pt x="50400" y="48796"/>
                  </a:lnTo>
                  <a:lnTo>
                    <a:pt x="58488" y="43339"/>
                  </a:lnTo>
                  <a:lnTo>
                    <a:pt x="64002" y="35262"/>
                  </a:lnTo>
                  <a:lnTo>
                    <a:pt x="66040" y="25400"/>
                  </a:lnTo>
                  <a:lnTo>
                    <a:pt x="64036" y="15537"/>
                  </a:lnTo>
                  <a:lnTo>
                    <a:pt x="58579" y="7461"/>
                  </a:lnTo>
                  <a:lnTo>
                    <a:pt x="50502" y="2004"/>
                  </a:lnTo>
                  <a:lnTo>
                    <a:pt x="40640" y="0"/>
                  </a:lnTo>
                  <a:lnTo>
                    <a:pt x="30778" y="2004"/>
                  </a:lnTo>
                  <a:lnTo>
                    <a:pt x="22701" y="7461"/>
                  </a:lnTo>
                  <a:lnTo>
                    <a:pt x="17244" y="15537"/>
                  </a:lnTo>
                  <a:lnTo>
                    <a:pt x="15240" y="25400"/>
                  </a:lnTo>
                </a:path>
                <a:path w="233679" h="50800">
                  <a:moveTo>
                    <a:pt x="30480" y="17780"/>
                  </a:moveTo>
                  <a:lnTo>
                    <a:pt x="15240" y="30480"/>
                  </a:lnTo>
                  <a:lnTo>
                    <a:pt x="0" y="17780"/>
                  </a:lnTo>
                </a:path>
                <a:path w="233679" h="50800">
                  <a:moveTo>
                    <a:pt x="193042" y="50800"/>
                  </a:moveTo>
                  <a:lnTo>
                    <a:pt x="183179" y="48796"/>
                  </a:lnTo>
                  <a:lnTo>
                    <a:pt x="175103" y="43339"/>
                  </a:lnTo>
                  <a:lnTo>
                    <a:pt x="169646" y="35262"/>
                  </a:lnTo>
                  <a:lnTo>
                    <a:pt x="167642" y="25400"/>
                  </a:lnTo>
                  <a:lnTo>
                    <a:pt x="169646" y="15537"/>
                  </a:lnTo>
                  <a:lnTo>
                    <a:pt x="175103" y="7461"/>
                  </a:lnTo>
                  <a:lnTo>
                    <a:pt x="183179" y="2004"/>
                  </a:lnTo>
                  <a:lnTo>
                    <a:pt x="193042" y="0"/>
                  </a:lnTo>
                  <a:lnTo>
                    <a:pt x="202904" y="2004"/>
                  </a:lnTo>
                  <a:lnTo>
                    <a:pt x="210981" y="7461"/>
                  </a:lnTo>
                  <a:lnTo>
                    <a:pt x="216438" y="15537"/>
                  </a:lnTo>
                  <a:lnTo>
                    <a:pt x="218442" y="25400"/>
                  </a:lnTo>
                </a:path>
                <a:path w="233679" h="50800">
                  <a:moveTo>
                    <a:pt x="233682" y="17780"/>
                  </a:moveTo>
                  <a:lnTo>
                    <a:pt x="218442" y="30480"/>
                  </a:lnTo>
                  <a:lnTo>
                    <a:pt x="203202" y="177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22" name="object 21"/>
          <p:cNvSpPr/>
          <p:nvPr/>
        </p:nvSpPr>
        <p:spPr>
          <a:xfrm>
            <a:off x="87743" y="447001"/>
            <a:ext cx="4432935" cy="82550"/>
          </a:xfrm>
          <a:custGeom>
            <a:avLst/>
            <a:gdLst/>
            <a:ahLst/>
            <a:cxnLst/>
            <a:rect l="l" t="t" r="r" b="b"/>
            <a:pathLst>
              <a:path w="4432935" h="82550">
                <a:moveTo>
                  <a:pt x="4381765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4432566" y="82384"/>
                </a:lnTo>
                <a:lnTo>
                  <a:pt x="4432566" y="50800"/>
                </a:lnTo>
                <a:lnTo>
                  <a:pt x="4428558" y="31075"/>
                </a:lnTo>
                <a:lnTo>
                  <a:pt x="4417643" y="14922"/>
                </a:lnTo>
                <a:lnTo>
                  <a:pt x="4401490" y="4008"/>
                </a:lnTo>
                <a:lnTo>
                  <a:pt x="4381765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23" name="object 22"/>
          <p:cNvGrpSpPr/>
          <p:nvPr/>
        </p:nvGrpSpPr>
        <p:grpSpPr>
          <a:xfrm>
            <a:off x="70735" y="498777"/>
            <a:ext cx="4465758" cy="629353"/>
            <a:chOff x="87743" y="491422"/>
            <a:chExt cx="4483735" cy="383540"/>
          </a:xfrm>
        </p:grpSpPr>
        <p:pic>
          <p:nvPicPr>
            <p:cNvPr id="24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8544" y="773150"/>
              <a:ext cx="101600" cy="101600"/>
            </a:xfrm>
            <a:prstGeom prst="rect">
              <a:avLst/>
            </a:prstGeom>
          </p:spPr>
        </p:pic>
        <p:pic>
          <p:nvPicPr>
            <p:cNvPr id="25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9344" y="760450"/>
              <a:ext cx="4381715" cy="114300"/>
            </a:xfrm>
            <a:prstGeom prst="rect">
              <a:avLst/>
            </a:prstGeom>
          </p:spPr>
        </p:pic>
        <p:pic>
          <p:nvPicPr>
            <p:cNvPr id="26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20310" y="497560"/>
              <a:ext cx="50749" cy="275590"/>
            </a:xfrm>
            <a:prstGeom prst="rect">
              <a:avLst/>
            </a:prstGeom>
          </p:spPr>
        </p:pic>
        <p:sp>
          <p:nvSpPr>
            <p:cNvPr id="27" name="object 26"/>
            <p:cNvSpPr/>
            <p:nvPr/>
          </p:nvSpPr>
          <p:spPr>
            <a:xfrm>
              <a:off x="87743" y="491422"/>
              <a:ext cx="4432935" cy="332740"/>
            </a:xfrm>
            <a:custGeom>
              <a:avLst/>
              <a:gdLst/>
              <a:ahLst/>
              <a:cxnLst/>
              <a:rect l="l" t="t" r="r" b="b"/>
              <a:pathLst>
                <a:path w="4432935" h="332740">
                  <a:moveTo>
                    <a:pt x="4432566" y="0"/>
                  </a:moveTo>
                  <a:lnTo>
                    <a:pt x="0" y="0"/>
                  </a:lnTo>
                  <a:lnTo>
                    <a:pt x="0" y="281728"/>
                  </a:lnTo>
                  <a:lnTo>
                    <a:pt x="4008" y="301453"/>
                  </a:lnTo>
                  <a:lnTo>
                    <a:pt x="14922" y="317605"/>
                  </a:lnTo>
                  <a:lnTo>
                    <a:pt x="31075" y="328520"/>
                  </a:lnTo>
                  <a:lnTo>
                    <a:pt x="50800" y="332528"/>
                  </a:lnTo>
                  <a:lnTo>
                    <a:pt x="4381765" y="332528"/>
                  </a:lnTo>
                  <a:lnTo>
                    <a:pt x="4401490" y="328520"/>
                  </a:lnTo>
                  <a:lnTo>
                    <a:pt x="4417643" y="317605"/>
                  </a:lnTo>
                  <a:lnTo>
                    <a:pt x="4428558" y="301453"/>
                  </a:lnTo>
                  <a:lnTo>
                    <a:pt x="4432566" y="281728"/>
                  </a:lnTo>
                  <a:lnTo>
                    <a:pt x="4432566" y="0"/>
                  </a:lnTo>
                  <a:close/>
                </a:path>
              </a:pathLst>
            </a:custGeom>
            <a:solidFill>
              <a:srgbClr val="613868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8" name="object 27"/>
            <p:cNvSpPr/>
            <p:nvPr/>
          </p:nvSpPr>
          <p:spPr>
            <a:xfrm>
              <a:off x="4520310" y="535659"/>
              <a:ext cx="0" cy="256540"/>
            </a:xfrm>
            <a:custGeom>
              <a:avLst/>
              <a:gdLst/>
              <a:ahLst/>
              <a:cxnLst/>
              <a:rect l="l" t="t" r="r" b="b"/>
              <a:pathLst>
                <a:path h="256540">
                  <a:moveTo>
                    <a:pt x="0" y="25654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9" name="object 28"/>
            <p:cNvSpPr/>
            <p:nvPr/>
          </p:nvSpPr>
          <p:spPr>
            <a:xfrm>
              <a:off x="4520310" y="5229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AFAFA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0" name="object 29"/>
            <p:cNvSpPr/>
            <p:nvPr/>
          </p:nvSpPr>
          <p:spPr>
            <a:xfrm>
              <a:off x="4520310" y="5102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CECEC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1" name="object 30"/>
            <p:cNvSpPr/>
            <p:nvPr/>
          </p:nvSpPr>
          <p:spPr>
            <a:xfrm>
              <a:off x="4520310" y="4975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EFEFE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32" name="object 31"/>
          <p:cNvSpPr txBox="1">
            <a:spLocks noGrp="1"/>
          </p:cNvSpPr>
          <p:nvPr>
            <p:ph type="title"/>
          </p:nvPr>
        </p:nvSpPr>
        <p:spPr>
          <a:xfrm>
            <a:off x="805662" y="625273"/>
            <a:ext cx="2996565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35"/>
              </a:spcBef>
            </a:pPr>
            <a:r>
              <a:rPr 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5210  G</a:t>
            </a:r>
            <a:r>
              <a:rPr 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roup 4</a:t>
            </a:r>
            <a:endParaRPr lang="en-US" spc="-1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3" name="object 32"/>
          <p:cNvSpPr txBox="1"/>
          <p:nvPr/>
        </p:nvSpPr>
        <p:spPr>
          <a:xfrm>
            <a:off x="1809750" y="1294765"/>
            <a:ext cx="1066800" cy="79883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王家俊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41</a:t>
            </a:r>
            <a:endParaRPr lang="en-US" altLang="zh-CN" sz="1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汪越洋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32</a:t>
            </a:r>
            <a:endParaRPr lang="en-US" altLang="zh-CN" sz="1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孙柏郁</a:t>
            </a:r>
            <a:r>
              <a:rPr 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21</a:t>
            </a:r>
            <a:endParaRPr lang="en-US" sz="1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赵雨祥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11</a:t>
            </a:r>
            <a:endParaRPr lang="en-US" altLang="zh-CN" sz="1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杨子健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55</a:t>
            </a:r>
            <a:endParaRPr lang="en-US" altLang="zh-CN" sz="1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34" name="object 3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872288" y="2261089"/>
            <a:ext cx="864733" cy="692886"/>
          </a:xfrm>
          <a:prstGeom prst="rect">
            <a:avLst/>
          </a:prstGeom>
        </p:spPr>
      </p:pic>
      <p:grpSp>
        <p:nvGrpSpPr>
          <p:cNvPr id="35" name="object 34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36" name="object 35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7" name="object 36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9" name="object 37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</p:grpSp>
      <p:sp>
        <p:nvSpPr>
          <p:cNvPr id="40" name="object 39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lang="en-US" altLang="zh-CN"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210</a:t>
            </a:r>
            <a:endParaRPr lang="en-US" altLang="zh-CN"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1" name="object 40"/>
          <p:cNvSpPr txBox="1">
            <a:spLocks noGrp="1"/>
          </p:cNvSpPr>
          <p:nvPr>
            <p:ph type="dt" sz="half" idx="6"/>
          </p:nvPr>
        </p:nvSpPr>
        <p:spPr>
          <a:xfrm>
            <a:off x="3447656" y="3351784"/>
            <a:ext cx="69743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zh-CN" alt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，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2" name="object 41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fld id="{81D60167-4931-47E6-BA6A-407CBD079E47}" type="slidenum">
              <a: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</a:fld>
            <a:r>
              <a:rPr spc="2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/12</a:t>
            </a:r>
            <a:endParaRPr spc="-25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3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265"/>
          </a:xfrm>
        </p:spPr>
        <p:txBody>
          <a:bodyPr/>
          <a:p>
            <a:r>
              <a:rPr lang="en-US" altLang="zh-CN"/>
              <a:t>GUI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415" y="560070"/>
            <a:ext cx="3464560" cy="2052955"/>
          </a:xfrm>
          <a:prstGeom prst="rect">
            <a:avLst/>
          </a:prstGeom>
          <a:ln>
            <a:noFill/>
          </a:ln>
        </p:spPr>
      </p:pic>
      <p:sp>
        <p:nvSpPr>
          <p:cNvPr id="33" name="文本框 32"/>
          <p:cNvSpPr txBox="1"/>
          <p:nvPr/>
        </p:nvSpPr>
        <p:spPr>
          <a:xfrm>
            <a:off x="828770" y="245076"/>
            <a:ext cx="2653030" cy="33432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实时更新</a:t>
            </a:r>
            <a:r>
              <a:rPr lang="en-US" altLang="zh-CN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&amp;</a:t>
            </a:r>
            <a:r>
              <a:rPr lang="zh-CN" altLang="en-US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动态监控</a:t>
            </a:r>
            <a:endParaRPr lang="en-US" altLang="zh-CN" sz="12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39395" y="695325"/>
            <a:ext cx="3242310" cy="27813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348990" y="695325"/>
            <a:ext cx="1059180" cy="21399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所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时行情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348990" y="1189990"/>
            <a:ext cx="1322070" cy="21399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委托明细与成交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状态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43840" y="1089660"/>
            <a:ext cx="3242310" cy="492125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3348990" y="2045335"/>
            <a:ext cx="1322070" cy="33718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、持仓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汇总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TCA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分析结果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3840" y="1730375"/>
            <a:ext cx="3242310" cy="88265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-76835" y="2562860"/>
            <a:ext cx="4672330" cy="7327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en-US" altLang="zh-CN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VnTrader</a:t>
            </a: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实时</a:t>
            </a:r>
            <a:r>
              <a:rPr lang="en-US" altLang="zh-CN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</a:t>
            </a: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界面</a:t>
            </a:r>
            <a:endParaRPr lang="zh-CN" altLang="en-US" sz="10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（革新：原本手动下单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+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手动订阅所需币种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 →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自动订阅加载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btcusdt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行情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+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显示交易信息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）</a:t>
            </a:r>
            <a:endParaRPr lang="en-US" altLang="zh-CN" sz="8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交易流程实时跟踪，持仓净值动态</a:t>
            </a: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监控！</a:t>
            </a:r>
            <a:endParaRPr lang="zh-CN" altLang="en-US" sz="10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endParaRPr lang="zh-CN" altLang="en-US" sz="10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3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4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6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4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5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8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0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9" grpId="0"/>
      <p:bldP spid="9" grpId="1"/>
      <p:bldP spid="11" grpId="0" bldLvl="0" animBg="1"/>
      <p:bldP spid="11" grpId="1" animBg="1"/>
      <p:bldP spid="10" grpId="0"/>
      <p:bldP spid="10" grpId="1"/>
      <p:bldP spid="13" grpId="0" bldLvl="0" animBg="1"/>
      <p:bldP spid="13" grpId="1" animBg="1"/>
      <p:bldP spid="12" grpId="0"/>
      <p:bldP spid="12" grpId="1"/>
      <p:bldP spid="16" grpId="0"/>
      <p:bldP spid="16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444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mo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ensent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1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3" name="44d4532656f2badd5328afcbb12e7118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46990" y="431800"/>
            <a:ext cx="4510405" cy="27533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 fullScrn="0">
              <p:cMediaNode>
                <p:cTn id="2" fill="hold" display="1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3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4" name="object 3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6" name="object 5"/>
          <p:cNvGrpSpPr/>
          <p:nvPr/>
        </p:nvGrpSpPr>
        <p:grpSpPr>
          <a:xfrm>
            <a:off x="3242526" y="3248732"/>
            <a:ext cx="203200" cy="55880"/>
            <a:chOff x="3242526" y="3248732"/>
            <a:chExt cx="203200" cy="55880"/>
          </a:xfrm>
        </p:grpSpPr>
        <p:sp>
          <p:nvSpPr>
            <p:cNvPr id="7" name="object 6"/>
            <p:cNvSpPr/>
            <p:nvPr/>
          </p:nvSpPr>
          <p:spPr>
            <a:xfrm>
              <a:off x="3305694" y="3251262"/>
              <a:ext cx="64135" cy="50800"/>
            </a:xfrm>
            <a:custGeom>
              <a:avLst/>
              <a:gdLst/>
              <a:ahLst/>
              <a:cxnLst/>
              <a:rect l="l" t="t" r="r" b="b"/>
              <a:pathLst>
                <a:path w="64135" h="50800">
                  <a:moveTo>
                    <a:pt x="0" y="50800"/>
                  </a:moveTo>
                  <a:lnTo>
                    <a:pt x="43019" y="50800"/>
                  </a:lnTo>
                  <a:lnTo>
                    <a:pt x="43019" y="20434"/>
                  </a:lnTo>
                  <a:lnTo>
                    <a:pt x="0" y="20434"/>
                  </a:lnTo>
                  <a:lnTo>
                    <a:pt x="0" y="50800"/>
                  </a:lnTo>
                  <a:close/>
                </a:path>
                <a:path w="64135" h="50800">
                  <a:moveTo>
                    <a:pt x="10491" y="20320"/>
                  </a:moveTo>
                  <a:lnTo>
                    <a:pt x="10491" y="10160"/>
                  </a:lnTo>
                  <a:lnTo>
                    <a:pt x="53672" y="10160"/>
                  </a:lnTo>
                  <a:lnTo>
                    <a:pt x="53672" y="40640"/>
                  </a:lnTo>
                  <a:lnTo>
                    <a:pt x="43512" y="40640"/>
                  </a:lnTo>
                </a:path>
                <a:path w="64135" h="50800">
                  <a:moveTo>
                    <a:pt x="20652" y="10160"/>
                  </a:moveTo>
                  <a:lnTo>
                    <a:pt x="20652" y="0"/>
                  </a:lnTo>
                  <a:lnTo>
                    <a:pt x="63832" y="0"/>
                  </a:lnTo>
                  <a:lnTo>
                    <a:pt x="63832" y="30480"/>
                  </a:lnTo>
                  <a:lnTo>
                    <a:pt x="53672" y="304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324252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9" name="object 8"/>
          <p:cNvGrpSpPr/>
          <p:nvPr/>
        </p:nvGrpSpPr>
        <p:grpSpPr>
          <a:xfrm>
            <a:off x="3517976" y="3247467"/>
            <a:ext cx="203200" cy="58419"/>
            <a:chOff x="3517976" y="3247467"/>
            <a:chExt cx="203200" cy="58419"/>
          </a:xfrm>
        </p:grpSpPr>
        <p:sp>
          <p:nvSpPr>
            <p:cNvPr id="10" name="object 9"/>
            <p:cNvSpPr/>
            <p:nvPr/>
          </p:nvSpPr>
          <p:spPr>
            <a:xfrm>
              <a:off x="3606877" y="3263963"/>
              <a:ext cx="38100" cy="0"/>
            </a:xfrm>
            <a:custGeom>
              <a:avLst/>
              <a:gdLst/>
              <a:ahLst/>
              <a:cxnLst/>
              <a:rect l="l" t="t" r="r" b="b"/>
              <a:pathLst>
                <a:path w="38100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1" name="object 10"/>
            <p:cNvSpPr/>
            <p:nvPr/>
          </p:nvSpPr>
          <p:spPr>
            <a:xfrm>
              <a:off x="351797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object 11"/>
            <p:cNvSpPr/>
            <p:nvPr/>
          </p:nvSpPr>
          <p:spPr>
            <a:xfrm>
              <a:off x="3594177" y="3251262"/>
              <a:ext cx="50800" cy="50800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0" y="0"/>
                  </a:moveTo>
                  <a:lnTo>
                    <a:pt x="38100" y="0"/>
                  </a:lnTo>
                </a:path>
                <a:path w="50800" h="50800">
                  <a:moveTo>
                    <a:pt x="12700" y="25400"/>
                  </a:moveTo>
                  <a:lnTo>
                    <a:pt x="50800" y="25400"/>
                  </a:lnTo>
                </a:path>
                <a:path w="50800" h="50800">
                  <a:moveTo>
                    <a:pt x="0" y="38100"/>
                  </a:moveTo>
                  <a:lnTo>
                    <a:pt x="38100" y="38100"/>
                  </a:lnTo>
                </a:path>
                <a:path w="50800" h="50800">
                  <a:moveTo>
                    <a:pt x="12700" y="50800"/>
                  </a:moveTo>
                  <a:lnTo>
                    <a:pt x="50800" y="50800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13" name="object 12"/>
          <p:cNvGrpSpPr/>
          <p:nvPr/>
        </p:nvGrpSpPr>
        <p:grpSpPr>
          <a:xfrm>
            <a:off x="3793439" y="3247467"/>
            <a:ext cx="203200" cy="58419"/>
            <a:chOff x="3793439" y="3247467"/>
            <a:chExt cx="203200" cy="58419"/>
          </a:xfrm>
        </p:grpSpPr>
        <p:sp>
          <p:nvSpPr>
            <p:cNvPr id="14" name="object 13"/>
            <p:cNvSpPr/>
            <p:nvPr/>
          </p:nvSpPr>
          <p:spPr>
            <a:xfrm>
              <a:off x="3869640" y="3251262"/>
              <a:ext cx="50800" cy="25400"/>
            </a:xfrm>
            <a:custGeom>
              <a:avLst/>
              <a:gdLst/>
              <a:ahLst/>
              <a:cxnLst/>
              <a:rect l="l" t="t" r="r" b="b"/>
              <a:pathLst>
                <a:path w="50800" h="25400">
                  <a:moveTo>
                    <a:pt x="0" y="0"/>
                  </a:moveTo>
                  <a:lnTo>
                    <a:pt x="38100" y="0"/>
                  </a:lnTo>
                </a:path>
                <a:path w="50800" h="25400">
                  <a:moveTo>
                    <a:pt x="12700" y="12700"/>
                  </a:moveTo>
                  <a:lnTo>
                    <a:pt x="50800" y="12700"/>
                  </a:lnTo>
                </a:path>
                <a:path w="50800" h="25400">
                  <a:moveTo>
                    <a:pt x="12700" y="25400"/>
                  </a:moveTo>
                  <a:lnTo>
                    <a:pt x="50800" y="2540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5" name="object 14"/>
            <p:cNvSpPr/>
            <p:nvPr/>
          </p:nvSpPr>
          <p:spPr>
            <a:xfrm>
              <a:off x="3793439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6" name="object 15"/>
            <p:cNvSpPr/>
            <p:nvPr/>
          </p:nvSpPr>
          <p:spPr>
            <a:xfrm>
              <a:off x="3869640" y="3289363"/>
              <a:ext cx="50800" cy="12700"/>
            </a:xfrm>
            <a:custGeom>
              <a:avLst/>
              <a:gdLst/>
              <a:ahLst/>
              <a:cxnLst/>
              <a:rect l="l" t="t" r="r" b="b"/>
              <a:pathLst>
                <a:path w="50800" h="12700">
                  <a:moveTo>
                    <a:pt x="0" y="0"/>
                  </a:moveTo>
                  <a:lnTo>
                    <a:pt x="38100" y="0"/>
                  </a:lnTo>
                </a:path>
                <a:path w="50800" h="12700">
                  <a:moveTo>
                    <a:pt x="12700" y="12699"/>
                  </a:moveTo>
                  <a:lnTo>
                    <a:pt x="50800" y="12699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7" name="object 16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18" name="object 17"/>
          <p:cNvGrpSpPr/>
          <p:nvPr/>
        </p:nvGrpSpPr>
        <p:grpSpPr>
          <a:xfrm>
            <a:off x="4326582" y="3248732"/>
            <a:ext cx="238760" cy="57150"/>
            <a:chOff x="4326582" y="3248732"/>
            <a:chExt cx="238760" cy="57150"/>
          </a:xfrm>
        </p:grpSpPr>
        <p:sp>
          <p:nvSpPr>
            <p:cNvPr id="19" name="object 18"/>
            <p:cNvSpPr/>
            <p:nvPr/>
          </p:nvSpPr>
          <p:spPr>
            <a:xfrm>
              <a:off x="4451033" y="3281743"/>
              <a:ext cx="20320" cy="20320"/>
            </a:xfrm>
            <a:custGeom>
              <a:avLst/>
              <a:gdLst/>
              <a:ahLst/>
              <a:cxnLst/>
              <a:rect l="l" t="t" r="r" b="b"/>
              <a:pathLst>
                <a:path w="20320" h="20320">
                  <a:moveTo>
                    <a:pt x="0" y="0"/>
                  </a:moveTo>
                  <a:lnTo>
                    <a:pt x="20320" y="2032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0" name="object 19"/>
            <p:cNvSpPr/>
            <p:nvPr/>
          </p:nvSpPr>
          <p:spPr>
            <a:xfrm>
              <a:off x="4423969" y="3255248"/>
              <a:ext cx="30480" cy="30480"/>
            </a:xfrm>
            <a:custGeom>
              <a:avLst/>
              <a:gdLst/>
              <a:ahLst/>
              <a:cxnLst/>
              <a:rect l="l" t="t" r="r" b="b"/>
              <a:pathLst>
                <a:path w="30479" h="30479">
                  <a:moveTo>
                    <a:pt x="30366" y="15183"/>
                  </a:moveTo>
                  <a:lnTo>
                    <a:pt x="30366" y="6797"/>
                  </a:lnTo>
                  <a:lnTo>
                    <a:pt x="23568" y="0"/>
                  </a:lnTo>
                  <a:lnTo>
                    <a:pt x="15183" y="0"/>
                  </a:lnTo>
                  <a:lnTo>
                    <a:pt x="6797" y="0"/>
                  </a:lnTo>
                  <a:lnTo>
                    <a:pt x="0" y="6797"/>
                  </a:lnTo>
                  <a:lnTo>
                    <a:pt x="0" y="15183"/>
                  </a:lnTo>
                  <a:lnTo>
                    <a:pt x="0" y="23568"/>
                  </a:lnTo>
                  <a:lnTo>
                    <a:pt x="6797" y="30366"/>
                  </a:lnTo>
                  <a:lnTo>
                    <a:pt x="15183" y="30366"/>
                  </a:lnTo>
                  <a:lnTo>
                    <a:pt x="23568" y="30366"/>
                  </a:lnTo>
                  <a:lnTo>
                    <a:pt x="30366" y="23568"/>
                  </a:lnTo>
                  <a:lnTo>
                    <a:pt x="30366" y="15183"/>
                  </a:lnTo>
                  <a:close/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1" name="object 20"/>
            <p:cNvSpPr/>
            <p:nvPr/>
          </p:nvSpPr>
          <p:spPr>
            <a:xfrm>
              <a:off x="4329112" y="3251262"/>
              <a:ext cx="233679" cy="50800"/>
            </a:xfrm>
            <a:custGeom>
              <a:avLst/>
              <a:gdLst/>
              <a:ahLst/>
              <a:cxnLst/>
              <a:rect l="l" t="t" r="r" b="b"/>
              <a:pathLst>
                <a:path w="233679" h="50800">
                  <a:moveTo>
                    <a:pt x="40640" y="50800"/>
                  </a:moveTo>
                  <a:lnTo>
                    <a:pt x="50400" y="48796"/>
                  </a:lnTo>
                  <a:lnTo>
                    <a:pt x="58488" y="43339"/>
                  </a:lnTo>
                  <a:lnTo>
                    <a:pt x="64002" y="35262"/>
                  </a:lnTo>
                  <a:lnTo>
                    <a:pt x="66040" y="25400"/>
                  </a:lnTo>
                  <a:lnTo>
                    <a:pt x="64036" y="15537"/>
                  </a:lnTo>
                  <a:lnTo>
                    <a:pt x="58579" y="7461"/>
                  </a:lnTo>
                  <a:lnTo>
                    <a:pt x="50502" y="2004"/>
                  </a:lnTo>
                  <a:lnTo>
                    <a:pt x="40640" y="0"/>
                  </a:lnTo>
                  <a:lnTo>
                    <a:pt x="30778" y="2004"/>
                  </a:lnTo>
                  <a:lnTo>
                    <a:pt x="22701" y="7461"/>
                  </a:lnTo>
                  <a:lnTo>
                    <a:pt x="17244" y="15537"/>
                  </a:lnTo>
                  <a:lnTo>
                    <a:pt x="15240" y="25400"/>
                  </a:lnTo>
                </a:path>
                <a:path w="233679" h="50800">
                  <a:moveTo>
                    <a:pt x="30480" y="17780"/>
                  </a:moveTo>
                  <a:lnTo>
                    <a:pt x="15240" y="30480"/>
                  </a:lnTo>
                  <a:lnTo>
                    <a:pt x="0" y="17780"/>
                  </a:lnTo>
                </a:path>
                <a:path w="233679" h="50800">
                  <a:moveTo>
                    <a:pt x="193042" y="50800"/>
                  </a:moveTo>
                  <a:lnTo>
                    <a:pt x="183179" y="48796"/>
                  </a:lnTo>
                  <a:lnTo>
                    <a:pt x="175103" y="43339"/>
                  </a:lnTo>
                  <a:lnTo>
                    <a:pt x="169646" y="35262"/>
                  </a:lnTo>
                  <a:lnTo>
                    <a:pt x="167642" y="25400"/>
                  </a:lnTo>
                  <a:lnTo>
                    <a:pt x="169646" y="15537"/>
                  </a:lnTo>
                  <a:lnTo>
                    <a:pt x="175103" y="7461"/>
                  </a:lnTo>
                  <a:lnTo>
                    <a:pt x="183179" y="2004"/>
                  </a:lnTo>
                  <a:lnTo>
                    <a:pt x="193042" y="0"/>
                  </a:lnTo>
                  <a:lnTo>
                    <a:pt x="202904" y="2004"/>
                  </a:lnTo>
                  <a:lnTo>
                    <a:pt x="210981" y="7461"/>
                  </a:lnTo>
                  <a:lnTo>
                    <a:pt x="216438" y="15537"/>
                  </a:lnTo>
                  <a:lnTo>
                    <a:pt x="218442" y="25400"/>
                  </a:lnTo>
                </a:path>
                <a:path w="233679" h="50800">
                  <a:moveTo>
                    <a:pt x="233682" y="17780"/>
                  </a:moveTo>
                  <a:lnTo>
                    <a:pt x="218442" y="30480"/>
                  </a:lnTo>
                  <a:lnTo>
                    <a:pt x="203202" y="177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22" name="object 21"/>
          <p:cNvSpPr/>
          <p:nvPr/>
        </p:nvSpPr>
        <p:spPr>
          <a:xfrm>
            <a:off x="87743" y="1958650"/>
            <a:ext cx="4432935" cy="82550"/>
          </a:xfrm>
          <a:custGeom>
            <a:avLst/>
            <a:gdLst/>
            <a:ahLst/>
            <a:cxnLst/>
            <a:rect l="l" t="t" r="r" b="b"/>
            <a:pathLst>
              <a:path w="4432935" h="82550">
                <a:moveTo>
                  <a:pt x="4381765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4432566" y="82384"/>
                </a:lnTo>
                <a:lnTo>
                  <a:pt x="4432566" y="50800"/>
                </a:lnTo>
                <a:lnTo>
                  <a:pt x="4428558" y="31075"/>
                </a:lnTo>
                <a:lnTo>
                  <a:pt x="4417643" y="14922"/>
                </a:lnTo>
                <a:lnTo>
                  <a:pt x="4401490" y="4008"/>
                </a:lnTo>
                <a:lnTo>
                  <a:pt x="4381765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23" name="object 22"/>
          <p:cNvGrpSpPr/>
          <p:nvPr/>
        </p:nvGrpSpPr>
        <p:grpSpPr>
          <a:xfrm>
            <a:off x="70735" y="2010426"/>
            <a:ext cx="4465758" cy="629353"/>
            <a:chOff x="87743" y="491422"/>
            <a:chExt cx="4483735" cy="383540"/>
          </a:xfrm>
        </p:grpSpPr>
        <p:pic>
          <p:nvPicPr>
            <p:cNvPr id="24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8544" y="773150"/>
              <a:ext cx="101600" cy="101600"/>
            </a:xfrm>
            <a:prstGeom prst="rect">
              <a:avLst/>
            </a:prstGeom>
          </p:spPr>
        </p:pic>
        <p:pic>
          <p:nvPicPr>
            <p:cNvPr id="25" name="object 2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89344" y="760450"/>
              <a:ext cx="4381715" cy="114300"/>
            </a:xfrm>
            <a:prstGeom prst="rect">
              <a:avLst/>
            </a:prstGeom>
          </p:spPr>
        </p:pic>
        <p:pic>
          <p:nvPicPr>
            <p:cNvPr id="26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20310" y="497560"/>
              <a:ext cx="50749" cy="275590"/>
            </a:xfrm>
            <a:prstGeom prst="rect">
              <a:avLst/>
            </a:prstGeom>
          </p:spPr>
        </p:pic>
        <p:sp>
          <p:nvSpPr>
            <p:cNvPr id="27" name="object 26"/>
            <p:cNvSpPr/>
            <p:nvPr/>
          </p:nvSpPr>
          <p:spPr>
            <a:xfrm>
              <a:off x="87743" y="491422"/>
              <a:ext cx="4432935" cy="332740"/>
            </a:xfrm>
            <a:custGeom>
              <a:avLst/>
              <a:gdLst/>
              <a:ahLst/>
              <a:cxnLst/>
              <a:rect l="l" t="t" r="r" b="b"/>
              <a:pathLst>
                <a:path w="4432935" h="332740">
                  <a:moveTo>
                    <a:pt x="4432566" y="0"/>
                  </a:moveTo>
                  <a:lnTo>
                    <a:pt x="0" y="0"/>
                  </a:lnTo>
                  <a:lnTo>
                    <a:pt x="0" y="281728"/>
                  </a:lnTo>
                  <a:lnTo>
                    <a:pt x="4008" y="301453"/>
                  </a:lnTo>
                  <a:lnTo>
                    <a:pt x="14922" y="317605"/>
                  </a:lnTo>
                  <a:lnTo>
                    <a:pt x="31075" y="328520"/>
                  </a:lnTo>
                  <a:lnTo>
                    <a:pt x="50800" y="332528"/>
                  </a:lnTo>
                  <a:lnTo>
                    <a:pt x="4381765" y="332528"/>
                  </a:lnTo>
                  <a:lnTo>
                    <a:pt x="4401490" y="328520"/>
                  </a:lnTo>
                  <a:lnTo>
                    <a:pt x="4417643" y="317605"/>
                  </a:lnTo>
                  <a:lnTo>
                    <a:pt x="4428558" y="301453"/>
                  </a:lnTo>
                  <a:lnTo>
                    <a:pt x="4432566" y="281728"/>
                  </a:lnTo>
                  <a:lnTo>
                    <a:pt x="4432566" y="0"/>
                  </a:lnTo>
                  <a:close/>
                </a:path>
              </a:pathLst>
            </a:custGeom>
            <a:solidFill>
              <a:srgbClr val="613868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8" name="object 27"/>
            <p:cNvSpPr/>
            <p:nvPr/>
          </p:nvSpPr>
          <p:spPr>
            <a:xfrm>
              <a:off x="4520310" y="535659"/>
              <a:ext cx="0" cy="256540"/>
            </a:xfrm>
            <a:custGeom>
              <a:avLst/>
              <a:gdLst/>
              <a:ahLst/>
              <a:cxnLst/>
              <a:rect l="l" t="t" r="r" b="b"/>
              <a:pathLst>
                <a:path h="256540">
                  <a:moveTo>
                    <a:pt x="0" y="25654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9" name="object 28"/>
            <p:cNvSpPr/>
            <p:nvPr/>
          </p:nvSpPr>
          <p:spPr>
            <a:xfrm>
              <a:off x="4520310" y="5229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AFAFA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0" name="object 29"/>
            <p:cNvSpPr/>
            <p:nvPr/>
          </p:nvSpPr>
          <p:spPr>
            <a:xfrm>
              <a:off x="4520310" y="5102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CECEC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1" name="object 30"/>
            <p:cNvSpPr/>
            <p:nvPr/>
          </p:nvSpPr>
          <p:spPr>
            <a:xfrm>
              <a:off x="4520310" y="4975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EFEFE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32" name="object 31"/>
          <p:cNvSpPr txBox="1">
            <a:spLocks noGrp="1"/>
          </p:cNvSpPr>
          <p:nvPr>
            <p:ph type="title"/>
          </p:nvPr>
        </p:nvSpPr>
        <p:spPr>
          <a:xfrm>
            <a:off x="805332" y="2010426"/>
            <a:ext cx="2996565" cy="38664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35"/>
              </a:spcBef>
            </a:pPr>
            <a:r>
              <a:rPr lang="en-US" sz="2400" spc="-2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hanks!</a:t>
            </a:r>
            <a:endParaRPr sz="2400" spc="-1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33" name="object 3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847850" y="892175"/>
            <a:ext cx="864733" cy="692886"/>
          </a:xfrm>
          <a:prstGeom prst="rect">
            <a:avLst/>
          </a:prstGeom>
        </p:spPr>
      </p:pic>
      <p:grpSp>
        <p:nvGrpSpPr>
          <p:cNvPr id="34" name="object 34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35" name="object 35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GB" altLang="zh-CN"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lang="en-GB" altLang="zh-CN"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GB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210</a:t>
            </a:r>
            <a:endParaRPr lang="en-GB" altLang="zh-CN"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0" name="object 40"/>
          <p:cNvSpPr txBox="1">
            <a:spLocks noGrp="1"/>
          </p:cNvSpPr>
          <p:nvPr>
            <p:ph type="dt" sz="half" idx="6"/>
          </p:nvPr>
        </p:nvSpPr>
        <p:spPr>
          <a:xfrm>
            <a:off x="3447656" y="3351784"/>
            <a:ext cx="69743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1" name="object 41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12/12</a:t>
            </a:r>
            <a:endParaRPr spc="-25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2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Data F</a:t>
            </a: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etching</a:t>
            </a:r>
            <a:endParaRPr lang="en-US" altLang="zh-CN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2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80365"/>
            <a:ext cx="4612005" cy="82994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​CCX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获取历史数据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核心逻辑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cx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库标准化访问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P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循环分批请求历史数据（如分钟级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技术细节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1)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参数化请求：指定交易对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mbol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时间框架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timefra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起始时间戳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inc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自动处理分页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2)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错机制：网络中断时重试，避免数据缺失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3)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结构：返回的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OHLCV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格式为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[timestamp, open, high, low, close, volume]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存储流程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清洗后存入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mbol_timefra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分集合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USDT_1m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-635" y="1190625"/>
            <a:ext cx="4610735" cy="58356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WebSocke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时数据流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连接管理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阅特定交易对的频道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usdt@kline_1m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维持长连接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事件驱动处理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接收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时触发回调函数，实时更新内存中的最新价格，并追加写入数据库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去重与压缩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使用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upser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操作避免重复记录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68676" y="4253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123498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295" y="1793240"/>
            <a:ext cx="2303780" cy="123444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1494790" y="3046095"/>
            <a:ext cx="1412240" cy="234315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>
              <a:spcAft>
                <a:spcPct val="60000"/>
              </a:spcAft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图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1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：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WebSocke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实时数据流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DataB</a:t>
            </a: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ses</a:t>
            </a:r>
            <a:endParaRPr lang="en-US" altLang="zh-CN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3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80365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​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库选型与核心功能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主数据库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系统采用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​MongoDB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作为核心存储引擎，主要用于存储历史市场数据，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即从交易所（如币安）获取的分钟级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OHLCV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数据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选择原因：</a:t>
            </a:r>
            <a:endParaRPr lang="en-US" altLang="zh-CN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灵活的数据模型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文档结构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JSON-like BSO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适应不同交易所的数据格式差异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高吞吐写入：支持海量分钟级数据的快速插入，适合高频实时数据流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横向扩展能力：通过分片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harding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应对未来数据量增长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68676" y="4253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150" y="1325245"/>
            <a:ext cx="3453765" cy="173736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483995" y="3080385"/>
            <a:ext cx="1616075" cy="234315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>
              <a:spcAft>
                <a:spcPct val="60000"/>
              </a:spcAft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图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2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：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MongoDB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核心存储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引擎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</a:t>
            </a: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ing</a:t>
            </a:r>
            <a:endParaRPr lang="en-US" altLang="zh-CN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4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95313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信号生成逻辑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触发条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于价格与移动平均的动态偏离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具体计算指标：取最近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根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的收盘价（或其他周期，可配置），计算简单移动平均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。比较当前价格（最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收盘价）与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百分比偏离：偏离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=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当前价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0%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阈值判断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若偏离率超过正向阈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+1.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生成买入信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假设价格超跌反弹）；若偏离率低于负向阈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1.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生成卖出信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假设价格超涨回调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信号过滤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为避免高频抖动，连续两次信号间隔需大于最小时间窗口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分钟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1905" y="1955165"/>
            <a:ext cx="4610735" cy="82994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控制与资金管理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全局仓位跟踪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维护一个实时更新的仓位账本，记录当前持有币种数量、可用资金、挂单占用资金等。其中设置</a:t>
            </a:r>
            <a:r>
              <a:rPr lang="zh-CN" altLang="en-US" sz="800" b="1" i="0" u="sng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预扣机制</a:t>
            </a:r>
            <a:r>
              <a:rPr lang="zh-CN" altLang="en-US" sz="800" b="0" i="0" u="none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下单前，计算订单所需资金（买入：数量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价格；卖出：数量），检查可用资金是否充足，若不足则拒绝发单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单笔风险限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每笔订单最大不超过总资金的固定比例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并采取</a:t>
            </a:r>
            <a:r>
              <a:rPr lang="zh-CN" altLang="en-US" sz="800" b="1" i="0" u="sng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动态调整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若波动率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T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指标）上升，自动降低单笔订单量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20001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0465" y="1235075"/>
            <a:ext cx="2067560" cy="66802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2875" y="2743835"/>
            <a:ext cx="1691640" cy="4000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</a:t>
            </a: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ing</a:t>
            </a:r>
            <a:endParaRPr lang="en-US" altLang="zh-CN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5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生成与执行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类型选择：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限价单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Limit Orde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买入：以当前价格向下偏移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个基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0.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挂单，提高成交概率。卖出：以当前价格向上偏移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个基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+0.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挂单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价单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rket Orde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可选）：仅在极端行情（如偏离率超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时使用，确保快速成交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参数：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固定参数：交易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/USD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订单方向（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空）、数量；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动态参数：价格（根据限价偏移规则生成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-2540" y="1370330"/>
            <a:ext cx="4610735" cy="95313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执行监控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滑点与延迟计算：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滑点：成交价与预期价的差值，包含绝对滑点与相对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滑点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绝对滑点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|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际成交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-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|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相对滑点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际成交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-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) /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100%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延迟：从发单到成交的时间差（毫秒级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日志记录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记录每笔订单的最终状态（成交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撤单）、滑点、延迟、成交时间等，用于后续分析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141786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0015" y="2315210"/>
            <a:ext cx="1851660" cy="8915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</a:t>
            </a: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ing</a:t>
            </a:r>
            <a:endParaRPr lang="en-US" altLang="zh-CN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6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后处理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仓位更新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后实时更新全局账本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买入：减少可用资金，增加持仓数量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卖出：减少持仓数量，增加可用资金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异常处理：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部分成交：剩余未成交部分自动撤单或挂单续存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所拒单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价格超出范围）：触发告警并记录原因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对账机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定期与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P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核对持仓和资金，确保本地账本与交易所数据一致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-6350" y="1483360"/>
            <a:ext cx="4628515" cy="1456055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整体流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总结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 1.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场数据到达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→   2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计算偏离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→   3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触发信号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4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检查（资金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仓位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→ 4.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→  4.1.1.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生成订单（限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价）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↓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4.2.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不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    4.1.1.1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发送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↓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4.2.1.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拒绝并记录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4.1.1.2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监控成交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状态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↓</a:t>
            </a:r>
            <a:endParaRPr lang="en-US" altLang="zh-CN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4.2.1.1.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结束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     4.1.1.3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更新仓位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amp;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记录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日志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5181" y="154232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rading Strategy</a:t>
            </a:r>
            <a:endParaRPr lang="en-US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7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移动平均线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和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相对强弱指数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双重过滤，判断市场趋势和超买超卖状态，实现以下目标：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识别：利用快慢速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MA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叉（金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/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死叉）判断趋势方向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入场时机：结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指标识别价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“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卖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”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低位入场）或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“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”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高位离场）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资金管理：按账户资金比例动态计算交易量，控制单笔风险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0" y="1145540"/>
            <a:ext cx="4612005" cy="829945"/>
          </a:xfrm>
          <a:prstGeom prst="rect">
            <a:avLst/>
          </a:prstGeom>
        </p:spPr>
        <p:txBody>
          <a:bodyPr wrap="square">
            <a:spAutoFit/>
          </a:bodyPr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开仓逻辑（多头场景）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当满足以下全部条件时，触发买入开仓：</a:t>
            </a:r>
            <a:endParaRPr lang="zh-CN" altLang="en-US" sz="800" b="0" i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确认：快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周期）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gt;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慢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0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周期），形成 “金叉”，表明短期趋势向上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卖信号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值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lt; rsi_entry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默认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表明价格短期下跌过度，可能反弹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量验证：当前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成交量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≥ min_volu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确保市场活跃度足够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资金管理：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 risk_percent 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计算交易量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-635" y="2180590"/>
            <a:ext cx="4610735" cy="70675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平仓逻辑（多头持仓时）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当满足以下任一条件</a:t>
            </a:r>
            <a:r>
              <a:rPr lang="en-US" altLang="zh-CN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 </a:t>
            </a: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时，触发卖出平仓：</a:t>
            </a:r>
            <a:endParaRPr lang="zh-CN" altLang="en-US" sz="800" b="0" i="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反转：快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 &lt;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慢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形成 “死叉”，表明短期趋势向下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买信号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值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gt; 6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经验阈值，代码中硬编码），表明价格短期上涨过度，可能回调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价格波动：当前价格较上次成交价格的波动幅度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≥ price_change_threshold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过滤小幅震荡。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44546" y="120386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222558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2" imgW="3810" imgH="3810" progId="TCLayout.ActiveDocument.1">
                  <p:embed/>
                </p:oleObj>
              </mc:Choice>
              <mc:Fallback>
                <p:oleObj name="think-cell 幻灯片" r:id="rId2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rading Strategy</a:t>
            </a:r>
            <a:endParaRPr lang="en-US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8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5245" y="380365"/>
            <a:ext cx="4457700" cy="2760980"/>
          </a:xfrm>
          <a:prstGeom prst="rect">
            <a:avLst/>
          </a:prstGeom>
        </p:spPr>
        <p:txBody>
          <a:bodyPr wrap="square">
            <a:noAutofit/>
          </a:bodyPr>
          <a:p>
            <a:pPr marL="0" indent="0">
              <a:spcAft>
                <a:spcPct val="6000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290" y="760730"/>
            <a:ext cx="3609340" cy="255016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1859915" y="440055"/>
            <a:ext cx="720725" cy="245110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>
              <a:spcAft>
                <a:spcPct val="60000"/>
              </a:spcAft>
            </a:pPr>
            <a:r>
              <a:rPr lang="zh-CN" altLang="en-US" sz="10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策略参数</a:t>
            </a:r>
            <a:endParaRPr lang="zh-CN" altLang="en-US" sz="10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265"/>
          </a:xfrm>
        </p:spPr>
        <p:txBody>
          <a:bodyPr/>
          <a:p>
            <a:r>
              <a:rPr lang="en-US" altLang="zh-CN"/>
              <a:t>B</a:t>
            </a:r>
            <a:r>
              <a:rPr lang="en-US" altLang="zh-CN"/>
              <a:t>acktesting</a:t>
            </a:r>
            <a:endParaRPr lang="en-US" altLang="zh-CN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p>
            <a:endParaRPr lang="zh-CN" altLang="en-US" b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rcRect t="4652" b="39346"/>
          <a:stretch>
            <a:fillRect/>
          </a:stretch>
        </p:blipFill>
        <p:spPr>
          <a:xfrm>
            <a:off x="87630" y="470535"/>
            <a:ext cx="4346575" cy="162052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99695" y="2450465"/>
            <a:ext cx="33210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000" b="1">
                <a:latin typeface="华文楷体" panose="02010600040101010101" charset="-122"/>
                <a:ea typeface="华文楷体" panose="02010600040101010101" charset="-122"/>
              </a:rPr>
              <a:t>回测结果</a:t>
            </a:r>
            <a:endParaRPr lang="zh-CN" altLang="en-US" sz="1000" b="1"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rcRect l="8757" t="63815" r="3748"/>
          <a:stretch>
            <a:fillRect/>
          </a:stretch>
        </p:blipFill>
        <p:spPr>
          <a:xfrm>
            <a:off x="414655" y="2180590"/>
            <a:ext cx="4145915" cy="1141730"/>
          </a:xfrm>
          <a:prstGeom prst="rect">
            <a:avLst/>
          </a:prstGeom>
        </p:spPr>
      </p:pic>
      <p:grpSp>
        <p:nvGrpSpPr>
          <p:cNvPr id="11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12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3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4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5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  <a:endParaRPr lang="en-US" altLang="zh-CN" dirty="0">
              <a:solidFill>
                <a:srgbClr val="555555"/>
              </a:solidFill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16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  <a:endParaRPr lang="en-US" altLang="zh-CN" spc="-2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8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9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  <a:endParaRPr lang="en-US" spc="150" dirty="0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ISLIDE.GUIDESSETTING" val="{&quot;Id&quot;:&quot;f1fc33cb-241c-4b95-b30f-9ff84904eda1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61&quot; g=&quot;38&quot; b=&quot;68&quot;/&gt;&lt;/elem&gt;&lt;/m_vecMRU&gt;&lt;/m_mruColor&gt;&lt;m_eweekdayFirstOfWeek val=&quot;6&quot;/&gt;&lt;m_eweekdayFirstOfWorkweek val=&quot;2&quot;/&gt;&lt;m_eweekdayFirstOfWeekend val=&quot;7&quot;/&gt;&lt;/CPresentation&gt;&lt;/root&gt;"/>
  <p:tag name="THINKCELLUNDODONOTDELETE" val="0"/>
  <p:tag name="COMMONDATA" val="eyJoZGlkIjoiNDM5NzU4YmZjYTBiMzU1NmRmOTJkZGU1M2VjMjAyYmEifQ==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13868"/>
        </a:solidFill>
        <a:ln>
          <a:solidFill>
            <a:srgbClr val="61386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4">
            <a:shade val="15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60</Words>
  <Application>WPS 演示</Application>
  <PresentationFormat>自定义</PresentationFormat>
  <Paragraphs>231</Paragraphs>
  <Slides>12</Slides>
  <Notes>7</Notes>
  <HiddenSlides>0</HiddenSlides>
  <MMClips>1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0</vt:i4>
      </vt:variant>
      <vt:variant>
        <vt:lpstr>幻灯片标题</vt:lpstr>
      </vt:variant>
      <vt:variant>
        <vt:i4>12</vt:i4>
      </vt:variant>
    </vt:vector>
  </HeadingPairs>
  <TitlesOfParts>
    <vt:vector size="35" baseType="lpstr">
      <vt:lpstr>Arial</vt:lpstr>
      <vt:lpstr>宋体</vt:lpstr>
      <vt:lpstr>Wingdings</vt:lpstr>
      <vt:lpstr>Tahoma</vt:lpstr>
      <vt:lpstr>Arial</vt:lpstr>
      <vt:lpstr>Times New Roman</vt:lpstr>
      <vt:lpstr>楷体</vt:lpstr>
      <vt:lpstr>华文楷体</vt:lpstr>
      <vt:lpstr>Times</vt:lpstr>
      <vt:lpstr>微软雅黑</vt:lpstr>
      <vt:lpstr>Arial Unicode MS</vt:lpstr>
      <vt:lpstr>等线</vt:lpstr>
      <vt:lpstr>Office Them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MFE5210  Group 4</vt:lpstr>
      <vt:lpstr>Data Fetching</vt:lpstr>
      <vt:lpstr>DataBases</vt:lpstr>
      <vt:lpstr>Order Execution and Algorithmic Trading</vt:lpstr>
      <vt:lpstr>Order Execution and Algorithmic Trading</vt:lpstr>
      <vt:lpstr>Order Execution and Algorithmic Trading</vt:lpstr>
      <vt:lpstr>Trading Strategy</vt:lpstr>
      <vt:lpstr>Trading Strategy</vt:lpstr>
      <vt:lpstr>Backtesting</vt:lpstr>
      <vt:lpstr>GUI</vt:lpstr>
      <vt:lpstr>Demo Prensent</vt:lpstr>
      <vt:lpstr>Thanks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cture 1: Introduction to Optimization</dc:title>
  <dc:creator>Haoxiang Yang</dc:creator>
  <cp:lastModifiedBy>松羔</cp:lastModifiedBy>
  <cp:revision>113</cp:revision>
  <dcterms:created xsi:type="dcterms:W3CDTF">2024-04-13T02:23:00Z</dcterms:created>
  <dcterms:modified xsi:type="dcterms:W3CDTF">2025-04-25T16:4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8T16:00:00Z</vt:filetime>
  </property>
  <property fmtid="{D5CDD505-2E9C-101B-9397-08002B2CF9AE}" pid="3" name="Creator">
    <vt:lpwstr>LaTeX with Beamer class</vt:lpwstr>
  </property>
  <property fmtid="{D5CDD505-2E9C-101B-9397-08002B2CF9AE}" pid="4" name="LastSaved">
    <vt:filetime>2022-12-24T16:00:00Z</vt:filetime>
  </property>
  <property fmtid="{D5CDD505-2E9C-101B-9397-08002B2CF9AE}" pid="5" name="ICV">
    <vt:lpwstr>58A91434CD224B3CA4B676A8D110A950_13</vt:lpwstr>
  </property>
  <property fmtid="{D5CDD505-2E9C-101B-9397-08002B2CF9AE}" pid="6" name="KSOProductBuildVer">
    <vt:lpwstr>2052-12.1.0.20784</vt:lpwstr>
  </property>
</Properties>
</file>